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3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D$2:$D$245</c:f>
              <c:numCache>
                <c:formatCode>#,##0</c:formatCode>
                <c:ptCount val="244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1</c:v>
                </c:pt>
                <c:pt idx="199">
                  <c:v>942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8</c:v>
                </c:pt>
                <c:pt idx="208">
                  <c:v>862</c:v>
                </c:pt>
                <c:pt idx="209">
                  <c:v>866</c:v>
                </c:pt>
                <c:pt idx="210">
                  <c:v>840</c:v>
                </c:pt>
                <c:pt idx="211">
                  <c:v>812</c:v>
                </c:pt>
                <c:pt idx="212">
                  <c:v>791</c:v>
                </c:pt>
                <c:pt idx="213">
                  <c:v>764</c:v>
                </c:pt>
                <c:pt idx="214">
                  <c:v>727</c:v>
                </c:pt>
                <c:pt idx="215">
                  <c:v>716</c:v>
                </c:pt>
                <c:pt idx="216">
                  <c:v>712</c:v>
                </c:pt>
                <c:pt idx="217">
                  <c:v>733</c:v>
                </c:pt>
                <c:pt idx="218">
                  <c:v>708</c:v>
                </c:pt>
                <c:pt idx="219">
                  <c:v>674</c:v>
                </c:pt>
                <c:pt idx="220">
                  <c:v>631</c:v>
                </c:pt>
                <c:pt idx="221">
                  <c:v>608</c:v>
                </c:pt>
                <c:pt idx="222">
                  <c:v>609</c:v>
                </c:pt>
                <c:pt idx="223">
                  <c:v>600</c:v>
                </c:pt>
                <c:pt idx="224">
                  <c:v>578</c:v>
                </c:pt>
                <c:pt idx="225">
                  <c:v>544</c:v>
                </c:pt>
                <c:pt idx="226">
                  <c:v>527</c:v>
                </c:pt>
                <c:pt idx="227">
                  <c:v>521</c:v>
                </c:pt>
                <c:pt idx="228">
                  <c:v>494</c:v>
                </c:pt>
                <c:pt idx="229">
                  <c:v>500</c:v>
                </c:pt>
                <c:pt idx="230">
                  <c:v>496</c:v>
                </c:pt>
                <c:pt idx="231">
                  <c:v>481</c:v>
                </c:pt>
                <c:pt idx="232">
                  <c:v>470</c:v>
                </c:pt>
                <c:pt idx="233">
                  <c:v>420</c:v>
                </c:pt>
                <c:pt idx="234">
                  <c:v>403</c:v>
                </c:pt>
                <c:pt idx="235">
                  <c:v>379</c:v>
                </c:pt>
                <c:pt idx="236">
                  <c:v>373</c:v>
                </c:pt>
                <c:pt idx="237">
                  <c:v>362</c:v>
                </c:pt>
                <c:pt idx="238">
                  <c:v>358</c:v>
                </c:pt>
                <c:pt idx="239">
                  <c:v>329</c:v>
                </c:pt>
                <c:pt idx="240">
                  <c:v>294</c:v>
                </c:pt>
                <c:pt idx="241">
                  <c:v>258</c:v>
                </c:pt>
                <c:pt idx="242">
                  <c:v>245</c:v>
                </c:pt>
                <c:pt idx="243" formatCode="General">
                  <c:v>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65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B$2:$B$245</c:f>
              <c:numCache>
                <c:formatCode>#,##0</c:formatCode>
                <c:ptCount val="244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C$2:$C$245</c:f>
              <c:numCache>
                <c:formatCode>#,##0</c:formatCode>
                <c:ptCount val="24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D$2:$D$245</c:f>
              <c:numCache>
                <c:formatCode>#,##0</c:formatCode>
                <c:ptCount val="244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2</c:v>
                </c:pt>
                <c:pt idx="140">
                  <c:v>2640</c:v>
                </c:pt>
                <c:pt idx="141">
                  <c:v>2595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5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39</c:v>
                </c:pt>
                <c:pt idx="207">
                  <c:v>3356</c:v>
                </c:pt>
                <c:pt idx="208">
                  <c:v>3386</c:v>
                </c:pt>
                <c:pt idx="209">
                  <c:v>3358</c:v>
                </c:pt>
                <c:pt idx="210">
                  <c:v>3284</c:v>
                </c:pt>
                <c:pt idx="211">
                  <c:v>3148</c:v>
                </c:pt>
                <c:pt idx="212">
                  <c:v>2999</c:v>
                </c:pt>
                <c:pt idx="213">
                  <c:v>2815</c:v>
                </c:pt>
                <c:pt idx="214">
                  <c:v>2772</c:v>
                </c:pt>
                <c:pt idx="215">
                  <c:v>2832</c:v>
                </c:pt>
                <c:pt idx="216">
                  <c:v>2845</c:v>
                </c:pt>
                <c:pt idx="217">
                  <c:v>3045</c:v>
                </c:pt>
                <c:pt idx="218">
                  <c:v>2869</c:v>
                </c:pt>
                <c:pt idx="219">
                  <c:v>2690</c:v>
                </c:pt>
                <c:pt idx="220">
                  <c:v>2418</c:v>
                </c:pt>
                <c:pt idx="221">
                  <c:v>2324</c:v>
                </c:pt>
                <c:pt idx="222">
                  <c:v>2339</c:v>
                </c:pt>
                <c:pt idx="223">
                  <c:v>2333</c:v>
                </c:pt>
                <c:pt idx="224">
                  <c:v>2239</c:v>
                </c:pt>
                <c:pt idx="225">
                  <c:v>2109</c:v>
                </c:pt>
                <c:pt idx="226">
                  <c:v>1932</c:v>
                </c:pt>
                <c:pt idx="227">
                  <c:v>1786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7</c:v>
                </c:pt>
                <c:pt idx="232">
                  <c:v>1616</c:v>
                </c:pt>
                <c:pt idx="233">
                  <c:v>1530</c:v>
                </c:pt>
                <c:pt idx="234">
                  <c:v>1431</c:v>
                </c:pt>
                <c:pt idx="235">
                  <c:v>1362</c:v>
                </c:pt>
                <c:pt idx="236">
                  <c:v>1361</c:v>
                </c:pt>
                <c:pt idx="237">
                  <c:v>1308</c:v>
                </c:pt>
                <c:pt idx="238">
                  <c:v>1284</c:v>
                </c:pt>
                <c:pt idx="239">
                  <c:v>1242</c:v>
                </c:pt>
                <c:pt idx="240">
                  <c:v>1190</c:v>
                </c:pt>
                <c:pt idx="241">
                  <c:v>1112</c:v>
                </c:pt>
                <c:pt idx="242">
                  <c:v>1124</c:v>
                </c:pt>
                <c:pt idx="243">
                  <c:v>1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F71-4F3F-B6D3-283E975E68D4}"/>
                </c:ext>
              </c:extLst>
            </c:dLbl>
            <c:dLbl>
              <c:idx val="242"/>
              <c:layout>
                <c:manualLayout>
                  <c:x val="0"/>
                  <c:y val="-6.735856822203083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75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F71-4F3F-B6D3-283E975E68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B$2:$B$245</c:f>
              <c:numCache>
                <c:formatCode>#,##0</c:formatCode>
                <c:ptCount val="244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C$2:$C$245</c:f>
              <c:numCache>
                <c:formatCode>#,##0</c:formatCode>
                <c:ptCount val="24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D$2:$D$245</c:f>
              <c:numCache>
                <c:formatCode>#,##0</c:formatCode>
                <c:ptCount val="2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4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B$2:$B$245</c:f>
              <c:numCache>
                <c:formatCode>#,##0</c:formatCode>
                <c:ptCount val="244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General">
                  <c:v>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C$2:$C$245</c:f>
              <c:numCache>
                <c:formatCode>#,##0</c:formatCode>
                <c:ptCount val="24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D$2:$D$245</c:f>
              <c:numCache>
                <c:formatCode>#,##0</c:formatCode>
                <c:ptCount val="244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3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4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1</c:v>
                </c:pt>
                <c:pt idx="192">
                  <c:v>1833</c:v>
                </c:pt>
                <c:pt idx="193">
                  <c:v>1782</c:v>
                </c:pt>
                <c:pt idx="194">
                  <c:v>1829</c:v>
                </c:pt>
                <c:pt idx="195">
                  <c:v>1886</c:v>
                </c:pt>
                <c:pt idx="196">
                  <c:v>1893</c:v>
                </c:pt>
                <c:pt idx="197">
                  <c:v>1861</c:v>
                </c:pt>
                <c:pt idx="198">
                  <c:v>1858</c:v>
                </c:pt>
                <c:pt idx="199">
                  <c:v>1817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4</c:v>
                </c:pt>
                <c:pt idx="204">
                  <c:v>1742</c:v>
                </c:pt>
                <c:pt idx="207">
                  <c:v>1644</c:v>
                </c:pt>
                <c:pt idx="208">
                  <c:v>1654</c:v>
                </c:pt>
                <c:pt idx="209">
                  <c:v>1664</c:v>
                </c:pt>
                <c:pt idx="210">
                  <c:v>1614</c:v>
                </c:pt>
                <c:pt idx="211">
                  <c:v>1555</c:v>
                </c:pt>
                <c:pt idx="212">
                  <c:v>1508</c:v>
                </c:pt>
                <c:pt idx="213">
                  <c:v>1427</c:v>
                </c:pt>
                <c:pt idx="214">
                  <c:v>1402</c:v>
                </c:pt>
                <c:pt idx="215">
                  <c:v>1382</c:v>
                </c:pt>
                <c:pt idx="216">
                  <c:v>1348</c:v>
                </c:pt>
                <c:pt idx="217">
                  <c:v>1398</c:v>
                </c:pt>
                <c:pt idx="218">
                  <c:v>1365</c:v>
                </c:pt>
                <c:pt idx="219">
                  <c:v>1316</c:v>
                </c:pt>
                <c:pt idx="220">
                  <c:v>1238</c:v>
                </c:pt>
                <c:pt idx="221">
                  <c:v>1222</c:v>
                </c:pt>
                <c:pt idx="222">
                  <c:v>1205</c:v>
                </c:pt>
                <c:pt idx="223">
                  <c:v>1191</c:v>
                </c:pt>
                <c:pt idx="224">
                  <c:v>1163</c:v>
                </c:pt>
                <c:pt idx="225">
                  <c:v>1119</c:v>
                </c:pt>
                <c:pt idx="226">
                  <c:v>1041</c:v>
                </c:pt>
                <c:pt idx="227">
                  <c:v>1019</c:v>
                </c:pt>
                <c:pt idx="228">
                  <c:v>978</c:v>
                </c:pt>
                <c:pt idx="229">
                  <c:v>981</c:v>
                </c:pt>
                <c:pt idx="230">
                  <c:v>999</c:v>
                </c:pt>
                <c:pt idx="231">
                  <c:v>949</c:v>
                </c:pt>
                <c:pt idx="232">
                  <c:v>915</c:v>
                </c:pt>
                <c:pt idx="233">
                  <c:v>839</c:v>
                </c:pt>
                <c:pt idx="234">
                  <c:v>793</c:v>
                </c:pt>
                <c:pt idx="235">
                  <c:v>758</c:v>
                </c:pt>
                <c:pt idx="236">
                  <c:v>767</c:v>
                </c:pt>
                <c:pt idx="237">
                  <c:v>744</c:v>
                </c:pt>
                <c:pt idx="238">
                  <c:v>716</c:v>
                </c:pt>
                <c:pt idx="239">
                  <c:v>686</c:v>
                </c:pt>
                <c:pt idx="240">
                  <c:v>625</c:v>
                </c:pt>
                <c:pt idx="241">
                  <c:v>555</c:v>
                </c:pt>
                <c:pt idx="242">
                  <c:v>534</c:v>
                </c:pt>
                <c:pt idx="243" formatCode="General">
                  <c:v>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1 61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B$2:$B$245</c:f>
              <c:numCache>
                <c:formatCode>#,##0</c:formatCode>
                <c:ptCount val="244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5</c:f>
              <c:numCache>
                <c:formatCode>m/d/yyyy</c:formatCode>
                <c:ptCount val="2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</c:numCache>
            </c:numRef>
          </c:cat>
          <c:val>
            <c:numRef>
              <c:f>Sheet1!$C$2:$C$245</c:f>
              <c:numCache>
                <c:formatCode>#,##0</c:formatCode>
                <c:ptCount val="24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2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2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2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3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1002373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481555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92991459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11653780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3156644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29780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  <p:tag name="SLIDEFAB_SHAPECONDITIONMETACTIONDELET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16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Pohlová Radka Mgr.</cp:lastModifiedBy>
  <cp:revision>638</cp:revision>
  <dcterms:created xsi:type="dcterms:W3CDTF">2020-08-08T14:25:07Z</dcterms:created>
  <dcterms:modified xsi:type="dcterms:W3CDTF">2021-05-03T03:16:13Z</dcterms:modified>
</cp:coreProperties>
</file>